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12192000" cy="6858000"/>
  <p:notesSz cx="6858000" cy="9144000"/>
  <p:custDataLst>
    <p:tags r:id="rId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76DFD19-9071-4B24-AA88-5DC23F609659}" v="1056" dt="2022-11-08T05:29:39.21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1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microsoft.com/office/2016/11/relationships/changesInfo" Target="changesInfos/changesInfo1.xml"/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Relationship Id="rId9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elvyn Yovany Martinez Barahona" userId="3ccf779dc7355a40" providerId="LiveId" clId="{176DFD19-9071-4B24-AA88-5DC23F609659}"/>
    <pc:docChg chg="undo custSel modSld replTag">
      <pc:chgData name="Selvyn Yovany Martinez Barahona" userId="3ccf779dc7355a40" providerId="LiveId" clId="{176DFD19-9071-4B24-AA88-5DC23F609659}" dt="2022-11-08T05:29:39.214" v="2838"/>
      <pc:docMkLst>
        <pc:docMk/>
      </pc:docMkLst>
      <pc:sldChg chg="addSp delSp modSp mod">
        <pc:chgData name="Selvyn Yovany Martinez Barahona" userId="3ccf779dc7355a40" providerId="LiveId" clId="{176DFD19-9071-4B24-AA88-5DC23F609659}" dt="2022-11-08T05:29:39.214" v="2838"/>
        <pc:sldMkLst>
          <pc:docMk/>
          <pc:sldMk cId="849266544" sldId="256"/>
        </pc:sldMkLst>
        <pc:spChg chg="add del mod modVis">
          <ac:chgData name="Selvyn Yovany Martinez Barahona" userId="3ccf779dc7355a40" providerId="LiveId" clId="{176DFD19-9071-4B24-AA88-5DC23F609659}" dt="2022-11-08T05:29:39.210" v="2836"/>
          <ac:spMkLst>
            <pc:docMk/>
            <pc:sldMk cId="849266544" sldId="256"/>
            <ac:spMk id="2" creationId="{142B63F9-4705-DEFE-E463-E546F7705356}"/>
          </ac:spMkLst>
        </pc:spChg>
        <pc:spChg chg="mod">
          <ac:chgData name="Selvyn Yovany Martinez Barahona" userId="3ccf779dc7355a40" providerId="LiveId" clId="{176DFD19-9071-4B24-AA88-5DC23F609659}" dt="2022-11-08T05:29:39.203" v="2801"/>
          <ac:spMkLst>
            <pc:docMk/>
            <pc:sldMk cId="849266544" sldId="256"/>
            <ac:spMk id="168" creationId="{F01B8698-9294-F532-DDB4-2EE198CBAA21}"/>
          </ac:spMkLst>
        </pc:spChg>
        <pc:spChg chg="mod">
          <ac:chgData name="Selvyn Yovany Martinez Barahona" userId="3ccf779dc7355a40" providerId="LiveId" clId="{176DFD19-9071-4B24-AA88-5DC23F609659}" dt="2022-11-08T05:29:39.202" v="2797"/>
          <ac:spMkLst>
            <pc:docMk/>
            <pc:sldMk cId="849266544" sldId="256"/>
            <ac:spMk id="169" creationId="{F01B8698-9294-F532-DDB4-2EE198CBAA21}"/>
          </ac:spMkLst>
        </pc:spChg>
        <pc:spChg chg="mod">
          <ac:chgData name="Selvyn Yovany Martinez Barahona" userId="3ccf779dc7355a40" providerId="LiveId" clId="{176DFD19-9071-4B24-AA88-5DC23F609659}" dt="2022-11-08T05:29:39.202" v="2798"/>
          <ac:spMkLst>
            <pc:docMk/>
            <pc:sldMk cId="849266544" sldId="256"/>
            <ac:spMk id="186" creationId="{D2C85364-35B4-24C7-21A3-4F985EAEEE7E}"/>
          </ac:spMkLst>
        </pc:spChg>
        <pc:spChg chg="mod">
          <ac:chgData name="Selvyn Yovany Martinez Barahona" userId="3ccf779dc7355a40" providerId="LiveId" clId="{176DFD19-9071-4B24-AA88-5DC23F609659}" dt="2022-11-08T05:29:39.203" v="2802"/>
          <ac:spMkLst>
            <pc:docMk/>
            <pc:sldMk cId="849266544" sldId="256"/>
            <ac:spMk id="189" creationId="{35BB811B-08DE-AB67-F9FD-C573E1C72AC3}"/>
          </ac:spMkLst>
        </pc:spChg>
        <pc:spChg chg="mod">
          <ac:chgData name="Selvyn Yovany Martinez Barahona" userId="3ccf779dc7355a40" providerId="LiveId" clId="{176DFD19-9071-4B24-AA88-5DC23F609659}" dt="2022-11-08T05:29:39.203" v="2800"/>
          <ac:spMkLst>
            <pc:docMk/>
            <pc:sldMk cId="849266544" sldId="256"/>
            <ac:spMk id="190" creationId="{27C272A0-CD42-325D-2C62-C2A645DB0C17}"/>
          </ac:spMkLst>
        </pc:spChg>
        <pc:spChg chg="mod">
          <ac:chgData name="Selvyn Yovany Martinez Barahona" userId="3ccf779dc7355a40" providerId="LiveId" clId="{176DFD19-9071-4B24-AA88-5DC23F609659}" dt="2022-11-08T05:29:39.203" v="2799"/>
          <ac:spMkLst>
            <pc:docMk/>
            <pc:sldMk cId="849266544" sldId="256"/>
            <ac:spMk id="191" creationId="{35BF6085-E56A-8D0E-9B3C-4692F351187A}"/>
          </ac:spMkLst>
        </pc:spChg>
        <pc:spChg chg="del mod">
          <ac:chgData name="Selvyn Yovany Martinez Barahona" userId="3ccf779dc7355a40" providerId="LiveId" clId="{176DFD19-9071-4B24-AA88-5DC23F609659}" dt="2022-11-08T00:30:19.094" v="245"/>
          <ac:spMkLst>
            <pc:docMk/>
            <pc:sldMk cId="849266544" sldId="256"/>
            <ac:spMk id="193" creationId="{F01B8698-9294-F532-DDB4-2EE198CBAA21}"/>
          </ac:spMkLst>
        </pc:spChg>
        <pc:spChg chg="del mod">
          <ac:chgData name="Selvyn Yovany Martinez Barahona" userId="3ccf779dc7355a40" providerId="LiveId" clId="{176DFD19-9071-4B24-AA88-5DC23F609659}" dt="2022-11-08T00:30:19.093" v="243"/>
          <ac:spMkLst>
            <pc:docMk/>
            <pc:sldMk cId="849266544" sldId="256"/>
            <ac:spMk id="194" creationId="{F01B8698-9294-F532-DDB4-2EE198CBAA21}"/>
          </ac:spMkLst>
        </pc:spChg>
        <pc:spChg chg="del mod">
          <ac:chgData name="Selvyn Yovany Martinez Barahona" userId="3ccf779dc7355a40" providerId="LiveId" clId="{176DFD19-9071-4B24-AA88-5DC23F609659}" dt="2022-11-08T00:30:19.093" v="241"/>
          <ac:spMkLst>
            <pc:docMk/>
            <pc:sldMk cId="849266544" sldId="256"/>
            <ac:spMk id="196" creationId="{F01B8698-9294-F532-DDB4-2EE198CBAA21}"/>
          </ac:spMkLst>
        </pc:spChg>
        <pc:spChg chg="del mod">
          <ac:chgData name="Selvyn Yovany Martinez Barahona" userId="3ccf779dc7355a40" providerId="LiveId" clId="{176DFD19-9071-4B24-AA88-5DC23F609659}" dt="2022-11-08T00:30:19.092" v="239"/>
          <ac:spMkLst>
            <pc:docMk/>
            <pc:sldMk cId="849266544" sldId="256"/>
            <ac:spMk id="198" creationId="{F01B8698-9294-F532-DDB4-2EE198CBAA21}"/>
          </ac:spMkLst>
        </pc:spChg>
        <pc:spChg chg="del mod">
          <ac:chgData name="Selvyn Yovany Martinez Barahona" userId="3ccf779dc7355a40" providerId="LiveId" clId="{176DFD19-9071-4B24-AA88-5DC23F609659}" dt="2022-11-08T00:30:19.091" v="237"/>
          <ac:spMkLst>
            <pc:docMk/>
            <pc:sldMk cId="849266544" sldId="256"/>
            <ac:spMk id="199" creationId="{F01B8698-9294-F532-DDB4-2EE198CBAA21}"/>
          </ac:spMkLst>
        </pc:spChg>
        <pc:spChg chg="mod">
          <ac:chgData name="Selvyn Yovany Martinez Barahona" userId="3ccf779dc7355a40" providerId="LiveId" clId="{176DFD19-9071-4B24-AA88-5DC23F609659}" dt="2022-11-08T05:29:39.201" v="2789"/>
          <ac:spMkLst>
            <pc:docMk/>
            <pc:sldMk cId="849266544" sldId="256"/>
            <ac:spMk id="204" creationId="{F01B8698-9294-F532-DDB4-2EE198CBAA21}"/>
          </ac:spMkLst>
        </pc:spChg>
        <pc:spChg chg="mod">
          <ac:chgData name="Selvyn Yovany Martinez Barahona" userId="3ccf779dc7355a40" providerId="LiveId" clId="{176DFD19-9071-4B24-AA88-5DC23F609659}" dt="2022-11-08T05:29:39.201" v="2791"/>
          <ac:spMkLst>
            <pc:docMk/>
            <pc:sldMk cId="849266544" sldId="256"/>
            <ac:spMk id="209" creationId="{A95A17FA-3020-6F91-90B9-BE801BCA5130}"/>
          </ac:spMkLst>
        </pc:spChg>
        <pc:spChg chg="mod ord">
          <ac:chgData name="Selvyn Yovany Martinez Barahona" userId="3ccf779dc7355a40" providerId="LiveId" clId="{176DFD19-9071-4B24-AA88-5DC23F609659}" dt="2022-11-08T05:29:39.202" v="2794"/>
          <ac:spMkLst>
            <pc:docMk/>
            <pc:sldMk cId="849266544" sldId="256"/>
            <ac:spMk id="210" creationId="{52C7F6AE-BF4D-835B-F0D7-0E03307745E7}"/>
          </ac:spMkLst>
        </pc:spChg>
        <pc:spChg chg="mod">
          <ac:chgData name="Selvyn Yovany Martinez Barahona" userId="3ccf779dc7355a40" providerId="LiveId" clId="{176DFD19-9071-4B24-AA88-5DC23F609659}" dt="2022-11-08T05:29:39.201" v="2790"/>
          <ac:spMkLst>
            <pc:docMk/>
            <pc:sldMk cId="849266544" sldId="256"/>
            <ac:spMk id="211" creationId="{ACB5FA66-420A-A81B-9515-200E417A7614}"/>
          </ac:spMkLst>
        </pc:spChg>
        <pc:spChg chg="mod">
          <ac:chgData name="Selvyn Yovany Martinez Barahona" userId="3ccf779dc7355a40" providerId="LiveId" clId="{176DFD19-9071-4B24-AA88-5DC23F609659}" dt="2022-11-08T05:29:39.201" v="2792"/>
          <ac:spMkLst>
            <pc:docMk/>
            <pc:sldMk cId="849266544" sldId="256"/>
            <ac:spMk id="212" creationId="{CFE16A47-45D9-1330-227A-6FA04AF148BD}"/>
          </ac:spMkLst>
        </pc:spChg>
        <pc:spChg chg="mod">
          <ac:chgData name="Selvyn Yovany Martinez Barahona" userId="3ccf779dc7355a40" providerId="LiveId" clId="{176DFD19-9071-4B24-AA88-5DC23F609659}" dt="2022-11-08T05:29:39.202" v="2795"/>
          <ac:spMkLst>
            <pc:docMk/>
            <pc:sldMk cId="849266544" sldId="256"/>
            <ac:spMk id="213" creationId="{FCAE7E1D-1499-C758-F9FE-00B9371A46F4}"/>
          </ac:spMkLst>
        </pc:spChg>
        <pc:spChg chg="mod">
          <ac:chgData name="Selvyn Yovany Martinez Barahona" userId="3ccf779dc7355a40" providerId="LiveId" clId="{176DFD19-9071-4B24-AA88-5DC23F609659}" dt="2022-11-08T05:29:39.202" v="2796"/>
          <ac:spMkLst>
            <pc:docMk/>
            <pc:sldMk cId="849266544" sldId="256"/>
            <ac:spMk id="291" creationId="{42BABA56-84CC-058A-9FA9-01E2AE4F30F6}"/>
          </ac:spMkLst>
        </pc:spChg>
        <pc:spChg chg="mod ord">
          <ac:chgData name="Selvyn Yovany Martinez Barahona" userId="3ccf779dc7355a40" providerId="LiveId" clId="{176DFD19-9071-4B24-AA88-5DC23F609659}" dt="2022-11-08T05:29:39.204" v="2804"/>
          <ac:spMkLst>
            <pc:docMk/>
            <pc:sldMk cId="849266544" sldId="256"/>
            <ac:spMk id="316" creationId="{7C20ADE5-2FD0-8E3B-B4A5-8D535F5437A7}"/>
          </ac:spMkLst>
        </pc:spChg>
        <pc:spChg chg="mod ord">
          <ac:chgData name="Selvyn Yovany Martinez Barahona" userId="3ccf779dc7355a40" providerId="LiveId" clId="{176DFD19-9071-4B24-AA88-5DC23F609659}" dt="2022-11-08T05:29:39.204" v="2806"/>
          <ac:spMkLst>
            <pc:docMk/>
            <pc:sldMk cId="849266544" sldId="256"/>
            <ac:spMk id="385" creationId="{046DFD33-DE3E-0A85-004B-7F5CE8942312}"/>
          </ac:spMkLst>
        </pc:spChg>
        <pc:spChg chg="mod ord">
          <ac:chgData name="Selvyn Yovany Martinez Barahona" userId="3ccf779dc7355a40" providerId="LiveId" clId="{176DFD19-9071-4B24-AA88-5DC23F609659}" dt="2022-11-08T05:29:39.205" v="2810"/>
          <ac:spMkLst>
            <pc:docMk/>
            <pc:sldMk cId="849266544" sldId="256"/>
            <ac:spMk id="387" creationId="{F048C153-7E8A-8CE6-EB18-71AEF89CFA99}"/>
          </ac:spMkLst>
        </pc:spChg>
        <pc:spChg chg="mod ord">
          <ac:chgData name="Selvyn Yovany Martinez Barahona" userId="3ccf779dc7355a40" providerId="LiveId" clId="{176DFD19-9071-4B24-AA88-5DC23F609659}" dt="2022-11-08T05:29:39.205" v="2812"/>
          <ac:spMkLst>
            <pc:docMk/>
            <pc:sldMk cId="849266544" sldId="256"/>
            <ac:spMk id="388" creationId="{1668D685-E39E-CA78-E994-97AB150EA2B8}"/>
          </ac:spMkLst>
        </pc:spChg>
        <pc:spChg chg="mod ord">
          <ac:chgData name="Selvyn Yovany Martinez Barahona" userId="3ccf779dc7355a40" providerId="LiveId" clId="{176DFD19-9071-4B24-AA88-5DC23F609659}" dt="2022-11-08T05:29:39.205" v="2814"/>
          <ac:spMkLst>
            <pc:docMk/>
            <pc:sldMk cId="849266544" sldId="256"/>
            <ac:spMk id="389" creationId="{761668BA-4084-A0C9-1315-764B23165AFC}"/>
          </ac:spMkLst>
        </pc:spChg>
        <pc:spChg chg="mod ord">
          <ac:chgData name="Selvyn Yovany Martinez Barahona" userId="3ccf779dc7355a40" providerId="LiveId" clId="{176DFD19-9071-4B24-AA88-5DC23F609659}" dt="2022-11-08T05:29:39.206" v="2816"/>
          <ac:spMkLst>
            <pc:docMk/>
            <pc:sldMk cId="849266544" sldId="256"/>
            <ac:spMk id="390" creationId="{5A361C12-95C9-5F06-4553-BA298A0D4878}"/>
          </ac:spMkLst>
        </pc:spChg>
        <pc:spChg chg="mod ord">
          <ac:chgData name="Selvyn Yovany Martinez Barahona" userId="3ccf779dc7355a40" providerId="LiveId" clId="{176DFD19-9071-4B24-AA88-5DC23F609659}" dt="2022-11-08T05:29:39.206" v="2818"/>
          <ac:spMkLst>
            <pc:docMk/>
            <pc:sldMk cId="849266544" sldId="256"/>
            <ac:spMk id="391" creationId="{9D0C0292-A91B-A51A-422D-523D00681132}"/>
          </ac:spMkLst>
        </pc:spChg>
        <pc:spChg chg="mod">
          <ac:chgData name="Selvyn Yovany Martinez Barahona" userId="3ccf779dc7355a40" providerId="LiveId" clId="{176DFD19-9071-4B24-AA88-5DC23F609659}" dt="2022-11-08T05:29:39.207" v="2820"/>
          <ac:spMkLst>
            <pc:docMk/>
            <pc:sldMk cId="849266544" sldId="256"/>
            <ac:spMk id="392" creationId="{AC2C9A98-FE6C-C979-12CC-1FDE567E04C6}"/>
          </ac:spMkLst>
        </pc:spChg>
        <pc:spChg chg="mod ord">
          <ac:chgData name="Selvyn Yovany Martinez Barahona" userId="3ccf779dc7355a40" providerId="LiveId" clId="{176DFD19-9071-4B24-AA88-5DC23F609659}" dt="2022-11-08T05:29:39.207" v="2822"/>
          <ac:spMkLst>
            <pc:docMk/>
            <pc:sldMk cId="849266544" sldId="256"/>
            <ac:spMk id="393" creationId="{8E7815A4-5393-807F-919E-046A6C31D741}"/>
          </ac:spMkLst>
        </pc:spChg>
        <pc:spChg chg="mod">
          <ac:chgData name="Selvyn Yovany Martinez Barahona" userId="3ccf779dc7355a40" providerId="LiveId" clId="{176DFD19-9071-4B24-AA88-5DC23F609659}" dt="2022-11-08T05:29:39.206" v="2819"/>
          <ac:spMkLst>
            <pc:docMk/>
            <pc:sldMk cId="849266544" sldId="256"/>
            <ac:spMk id="394" creationId="{6862160E-83C3-739C-81C9-3F8FCCDA48C6}"/>
          </ac:spMkLst>
        </pc:spChg>
        <pc:spChg chg="mod">
          <ac:chgData name="Selvyn Yovany Martinez Barahona" userId="3ccf779dc7355a40" providerId="LiveId" clId="{176DFD19-9071-4B24-AA88-5DC23F609659}" dt="2022-11-08T05:29:39.207" v="2823"/>
          <ac:spMkLst>
            <pc:docMk/>
            <pc:sldMk cId="849266544" sldId="256"/>
            <ac:spMk id="395" creationId="{57391670-30A4-EAC2-32E2-D9315693A9AC}"/>
          </ac:spMkLst>
        </pc:spChg>
        <pc:spChg chg="mod">
          <ac:chgData name="Selvyn Yovany Martinez Barahona" userId="3ccf779dc7355a40" providerId="LiveId" clId="{176DFD19-9071-4B24-AA88-5DC23F609659}" dt="2022-11-08T05:29:39.207" v="2824"/>
          <ac:spMkLst>
            <pc:docMk/>
            <pc:sldMk cId="849266544" sldId="256"/>
            <ac:spMk id="396" creationId="{7E6EDAA4-3319-9A94-5A27-347D4BF81F7F}"/>
          </ac:spMkLst>
        </pc:spChg>
        <pc:spChg chg="mod">
          <ac:chgData name="Selvyn Yovany Martinez Barahona" userId="3ccf779dc7355a40" providerId="LiveId" clId="{176DFD19-9071-4B24-AA88-5DC23F609659}" dt="2022-11-08T05:29:39.208" v="2825"/>
          <ac:spMkLst>
            <pc:docMk/>
            <pc:sldMk cId="849266544" sldId="256"/>
            <ac:spMk id="397" creationId="{8F139A8E-8B69-16D8-FF4D-4485EEEA81BF}"/>
          </ac:spMkLst>
        </pc:spChg>
        <pc:spChg chg="mod">
          <ac:chgData name="Selvyn Yovany Martinez Barahona" userId="3ccf779dc7355a40" providerId="LiveId" clId="{176DFD19-9071-4B24-AA88-5DC23F609659}" dt="2022-11-08T05:29:39.208" v="2826"/>
          <ac:spMkLst>
            <pc:docMk/>
            <pc:sldMk cId="849266544" sldId="256"/>
            <ac:spMk id="398" creationId="{E5A7DB12-3395-5216-4A11-B585E10FA73D}"/>
          </ac:spMkLst>
        </pc:spChg>
        <pc:spChg chg="mod">
          <ac:chgData name="Selvyn Yovany Martinez Barahona" userId="3ccf779dc7355a40" providerId="LiveId" clId="{176DFD19-9071-4B24-AA88-5DC23F609659}" dt="2022-11-08T05:29:39.209" v="2830"/>
          <ac:spMkLst>
            <pc:docMk/>
            <pc:sldMk cId="849266544" sldId="256"/>
            <ac:spMk id="399" creationId="{733610BC-6B23-F9CC-4330-A6823B338323}"/>
          </ac:spMkLst>
        </pc:spChg>
        <pc:spChg chg="mod">
          <ac:chgData name="Selvyn Yovany Martinez Barahona" userId="3ccf779dc7355a40" providerId="LiveId" clId="{176DFD19-9071-4B24-AA88-5DC23F609659}" dt="2022-11-08T05:29:39.208" v="2827"/>
          <ac:spMkLst>
            <pc:docMk/>
            <pc:sldMk cId="849266544" sldId="256"/>
            <ac:spMk id="400" creationId="{AB50C9EA-4642-5032-439C-1E2473352DFB}"/>
          </ac:spMkLst>
        </pc:spChg>
        <pc:spChg chg="mod">
          <ac:chgData name="Selvyn Yovany Martinez Barahona" userId="3ccf779dc7355a40" providerId="LiveId" clId="{176DFD19-9071-4B24-AA88-5DC23F609659}" dt="2022-11-08T05:29:39.208" v="2829"/>
          <ac:spMkLst>
            <pc:docMk/>
            <pc:sldMk cId="849266544" sldId="256"/>
            <ac:spMk id="401" creationId="{F6D3763C-E73F-53EA-3E70-A969BECD188A}"/>
          </ac:spMkLst>
        </pc:spChg>
        <pc:spChg chg="mod">
          <ac:chgData name="Selvyn Yovany Martinez Barahona" userId="3ccf779dc7355a40" providerId="LiveId" clId="{176DFD19-9071-4B24-AA88-5DC23F609659}" dt="2022-11-08T05:29:39.208" v="2828"/>
          <ac:spMkLst>
            <pc:docMk/>
            <pc:sldMk cId="849266544" sldId="256"/>
            <ac:spMk id="402" creationId="{DB2D3D2D-474F-2B4D-7F97-9D3614C3D2DB}"/>
          </ac:spMkLst>
        </pc:spChg>
        <pc:spChg chg="mod">
          <ac:chgData name="Selvyn Yovany Martinez Barahona" userId="3ccf779dc7355a40" providerId="LiveId" clId="{176DFD19-9071-4B24-AA88-5DC23F609659}" dt="2022-11-08T05:29:39.209" v="2831"/>
          <ac:spMkLst>
            <pc:docMk/>
            <pc:sldMk cId="849266544" sldId="256"/>
            <ac:spMk id="403" creationId="{2484883C-2B53-61DE-19E9-9F79FE260899}"/>
          </ac:spMkLst>
        </pc:spChg>
        <pc:spChg chg="mod">
          <ac:chgData name="Selvyn Yovany Martinez Barahona" userId="3ccf779dc7355a40" providerId="LiveId" clId="{176DFD19-9071-4B24-AA88-5DC23F609659}" dt="2022-11-08T05:29:39.209" v="2832"/>
          <ac:spMkLst>
            <pc:docMk/>
            <pc:sldMk cId="849266544" sldId="256"/>
            <ac:spMk id="438" creationId="{F01B8698-9294-F532-DDB4-2EE198CBAA21}"/>
          </ac:spMkLst>
        </pc:spChg>
        <pc:spChg chg="add del mod modVis">
          <ac:chgData name="Selvyn Yovany Martinez Barahona" userId="3ccf779dc7355a40" providerId="LiveId" clId="{176DFD19-9071-4B24-AA88-5DC23F609659}" dt="2022-11-08T00:30:19.137" v="318"/>
          <ac:spMkLst>
            <pc:docMk/>
            <pc:sldMk cId="849266544" sldId="256"/>
            <ac:spMk id="447" creationId="{BF90D960-C5A0-667B-C017-1ADD724FFD9C}"/>
          </ac:spMkLst>
        </pc:spChg>
        <pc:spChg chg="add del mod modVis">
          <ac:chgData name="Selvyn Yovany Martinez Barahona" userId="3ccf779dc7355a40" providerId="LiveId" clId="{176DFD19-9071-4B24-AA88-5DC23F609659}" dt="2022-11-08T00:30:32.181" v="511"/>
          <ac:spMkLst>
            <pc:docMk/>
            <pc:sldMk cId="849266544" sldId="256"/>
            <ac:spMk id="451" creationId="{AF3C9087-4FFD-14A9-5B21-4D7078B94799}"/>
          </ac:spMkLst>
        </pc:spChg>
        <pc:spChg chg="add del mod modVis">
          <ac:chgData name="Selvyn Yovany Martinez Barahona" userId="3ccf779dc7355a40" providerId="LiveId" clId="{176DFD19-9071-4B24-AA88-5DC23F609659}" dt="2022-11-08T00:30:42.685" v="704"/>
          <ac:spMkLst>
            <pc:docMk/>
            <pc:sldMk cId="849266544" sldId="256"/>
            <ac:spMk id="454" creationId="{024310F4-989F-8C07-201F-673991B93487}"/>
          </ac:spMkLst>
        </pc:spChg>
        <pc:spChg chg="add del mod modVis">
          <ac:chgData name="Selvyn Yovany Martinez Barahona" userId="3ccf779dc7355a40" providerId="LiveId" clId="{176DFD19-9071-4B24-AA88-5DC23F609659}" dt="2022-11-08T00:30:44.658" v="1268"/>
          <ac:spMkLst>
            <pc:docMk/>
            <pc:sldMk cId="849266544" sldId="256"/>
            <ac:spMk id="456" creationId="{E7245533-1999-F43B-7E29-DEF03F628C27}"/>
          </ac:spMkLst>
        </pc:spChg>
        <pc:spChg chg="add del mod ord replST">
          <ac:chgData name="Selvyn Yovany Martinez Barahona" userId="3ccf779dc7355a40" providerId="LiveId" clId="{176DFD19-9071-4B24-AA88-5DC23F609659}" dt="2022-11-08T05:29:39.199" v="2780"/>
          <ac:spMkLst>
            <pc:docMk/>
            <pc:sldMk cId="849266544" sldId="256"/>
            <ac:spMk id="457" creationId="{F01B8698-9294-F532-DDB4-2EE198CBAA21}"/>
          </ac:spMkLst>
        </pc:spChg>
        <pc:spChg chg="add del mod ord replST">
          <ac:chgData name="Selvyn Yovany Martinez Barahona" userId="3ccf779dc7355a40" providerId="LiveId" clId="{176DFD19-9071-4B24-AA88-5DC23F609659}" dt="2022-11-08T05:29:39.200" v="2784"/>
          <ac:spMkLst>
            <pc:docMk/>
            <pc:sldMk cId="849266544" sldId="256"/>
            <ac:spMk id="458" creationId="{F01B8698-9294-F532-DDB4-2EE198CBAA21}"/>
          </ac:spMkLst>
        </pc:spChg>
        <pc:spChg chg="add del mod ord replST">
          <ac:chgData name="Selvyn Yovany Martinez Barahona" userId="3ccf779dc7355a40" providerId="LiveId" clId="{176DFD19-9071-4B24-AA88-5DC23F609659}" dt="2022-11-08T05:29:39.200" v="2786"/>
          <ac:spMkLst>
            <pc:docMk/>
            <pc:sldMk cId="849266544" sldId="256"/>
            <ac:spMk id="459" creationId="{F01B8698-9294-F532-DDB4-2EE198CBAA21}"/>
          </ac:spMkLst>
        </pc:spChg>
        <pc:spChg chg="add del mod ord replST">
          <ac:chgData name="Selvyn Yovany Martinez Barahona" userId="3ccf779dc7355a40" providerId="LiveId" clId="{176DFD19-9071-4B24-AA88-5DC23F609659}" dt="2022-11-08T05:29:39.200" v="2788"/>
          <ac:spMkLst>
            <pc:docMk/>
            <pc:sldMk cId="849266544" sldId="256"/>
            <ac:spMk id="460" creationId="{F01B8698-9294-F532-DDB4-2EE198CBAA21}"/>
          </ac:spMkLst>
        </pc:spChg>
        <pc:spChg chg="add del mod ord replST">
          <ac:chgData name="Selvyn Yovany Martinez Barahona" userId="3ccf779dc7355a40" providerId="LiveId" clId="{176DFD19-9071-4B24-AA88-5DC23F609659}" dt="2022-11-08T05:29:39.199" v="2782"/>
          <ac:spMkLst>
            <pc:docMk/>
            <pc:sldMk cId="849266544" sldId="256"/>
            <ac:spMk id="461" creationId="{F01B8698-9294-F532-DDB4-2EE198CBAA21}"/>
          </ac:spMkLst>
        </pc:spChg>
        <pc:spChg chg="add del mod modVis">
          <ac:chgData name="Selvyn Yovany Martinez Barahona" userId="3ccf779dc7355a40" providerId="LiveId" clId="{176DFD19-9071-4B24-AA88-5DC23F609659}" dt="2022-11-08T00:33:47.020" v="2583" actId="962"/>
          <ac:spMkLst>
            <pc:docMk/>
            <pc:sldMk cId="849266544" sldId="256"/>
            <ac:spMk id="464" creationId="{AFA32FEB-4726-A115-0A7B-3750501E13DA}"/>
          </ac:spMkLst>
        </pc:spChg>
        <pc:spChg chg="add del mod replST delST">
          <ac:chgData name="Selvyn Yovany Martinez Barahona" userId="3ccf779dc7355a40" providerId="LiveId" clId="{176DFD19-9071-4B24-AA88-5DC23F609659}" dt="2022-11-08T00:33:45.132" v="2447"/>
          <ac:spMkLst>
            <pc:docMk/>
            <pc:sldMk cId="849266544" sldId="256"/>
            <ac:spMk id="468" creationId="{F01B8698-9294-F532-DDB4-2EE198CBAA21}"/>
          </ac:spMkLst>
        </pc:spChg>
        <pc:spChg chg="add del mod modVis">
          <ac:chgData name="Selvyn Yovany Martinez Barahona" userId="3ccf779dc7355a40" providerId="LiveId" clId="{176DFD19-9071-4B24-AA88-5DC23F609659}" dt="2022-11-08T00:33:45.132" v="2447"/>
          <ac:spMkLst>
            <pc:docMk/>
            <pc:sldMk cId="849266544" sldId="256"/>
            <ac:spMk id="469" creationId="{33044A17-34E3-B11D-D299-466C139DF639}"/>
          </ac:spMkLst>
        </pc:spChg>
        <pc:spChg chg="add mod replST delST">
          <ac:chgData name="Selvyn Yovany Martinez Barahona" userId="3ccf779dc7355a40" providerId="LiveId" clId="{176DFD19-9071-4B24-AA88-5DC23F609659}" dt="2022-11-08T00:33:45.132" v="2447"/>
          <ac:spMkLst>
            <pc:docMk/>
            <pc:sldMk cId="849266544" sldId="256"/>
            <ac:spMk id="471" creationId="{F01B8698-9294-F532-DDB4-2EE198CBAA21}"/>
          </ac:spMkLst>
        </pc:spChg>
        <pc:spChg chg="add del mod modVis">
          <ac:chgData name="Selvyn Yovany Martinez Barahona" userId="3ccf779dc7355a40" providerId="LiveId" clId="{176DFD19-9071-4B24-AA88-5DC23F609659}" dt="2022-11-08T00:33:45.132" v="2447"/>
          <ac:spMkLst>
            <pc:docMk/>
            <pc:sldMk cId="849266544" sldId="256"/>
            <ac:spMk id="472" creationId="{8B1A7DAD-947B-4C5F-3C19-28BE78AE9BCA}"/>
          </ac:spMkLst>
        </pc:spChg>
        <pc:spChg chg="add del mod modVis">
          <ac:chgData name="Selvyn Yovany Martinez Barahona" userId="3ccf779dc7355a40" providerId="LiveId" clId="{176DFD19-9071-4B24-AA88-5DC23F609659}" dt="2022-11-08T00:33:44.234" v="2229"/>
          <ac:spMkLst>
            <pc:docMk/>
            <pc:sldMk cId="849266544" sldId="256"/>
            <ac:spMk id="474" creationId="{12BDC72C-847B-096B-F025-BF3A4D463DD0}"/>
          </ac:spMkLst>
        </pc:spChg>
        <pc:graphicFrameChg chg="add mod ord replST">
          <ac:chgData name="Selvyn Yovany Martinez Barahona" userId="3ccf779dc7355a40" providerId="LiveId" clId="{176DFD19-9071-4B24-AA88-5DC23F609659}" dt="2022-11-08T05:29:39.204" v="2808"/>
          <ac:graphicFrameMkLst>
            <pc:docMk/>
            <pc:sldMk cId="849266544" sldId="256"/>
            <ac:graphicFrameMk id="3" creationId="{D2E8DBCA-E70C-D175-5372-A226706F5712}"/>
          </ac:graphicFrameMkLst>
        </pc:graphicFrameChg>
        <pc:graphicFrameChg chg="mod">
          <ac:chgData name="Selvyn Yovany Martinez Barahona" userId="3ccf779dc7355a40" providerId="LiveId" clId="{176DFD19-9071-4B24-AA88-5DC23F609659}" dt="2022-11-08T05:29:39.214" v="2838"/>
          <ac:graphicFrameMkLst>
            <pc:docMk/>
            <pc:sldMk cId="849266544" sldId="256"/>
            <ac:graphicFrameMk id="9" creationId="{94F6DDB2-4988-6D60-A3BC-07C92A74F16B}"/>
          </ac:graphicFrameMkLst>
        </pc:graphicFrameChg>
        <pc:graphicFrameChg chg="del">
          <ac:chgData name="Selvyn Yovany Martinez Barahona" userId="3ccf779dc7355a40" providerId="LiveId" clId="{176DFD19-9071-4B24-AA88-5DC23F609659}" dt="2022-11-08T00:30:19.095" v="247"/>
          <ac:graphicFrameMkLst>
            <pc:docMk/>
            <pc:sldMk cId="849266544" sldId="256"/>
            <ac:graphicFrameMk id="445" creationId="{A350EA1E-8F2E-86C1-EE27-46E4A1B69F6A}"/>
          </ac:graphicFrameMkLst>
        </pc:graphicFrameChg>
        <pc:graphicFrameChg chg="del">
          <ac:chgData name="Selvyn Yovany Martinez Barahona" userId="3ccf779dc7355a40" providerId="LiveId" clId="{176DFD19-9071-4B24-AA88-5DC23F609659}" dt="2022-11-08T00:30:19.114" v="262"/>
          <ac:graphicFrameMkLst>
            <pc:docMk/>
            <pc:sldMk cId="849266544" sldId="256"/>
            <ac:graphicFrameMk id="446" creationId="{65D56728-2A2D-5815-8F3F-AFB0396FBFA7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08T00:30:26.354" v="336"/>
          <ac:graphicFrameMkLst>
            <pc:docMk/>
            <pc:sldMk cId="849266544" sldId="256"/>
            <ac:graphicFrameMk id="448" creationId="{2ADC7BE8-DE69-3849-FFD3-DD4D2FF9CB66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08T00:30:44.639" v="1202"/>
          <ac:graphicFrameMkLst>
            <pc:docMk/>
            <pc:sldMk cId="849266544" sldId="256"/>
            <ac:graphicFrameMk id="449" creationId="{952F918A-EA36-6C76-C97E-16A59C6797CD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08T00:30:32.157" v="455"/>
          <ac:graphicFrameMkLst>
            <pc:docMk/>
            <pc:sldMk cId="849266544" sldId="256"/>
            <ac:graphicFrameMk id="450" creationId="{271A37D0-85D3-20C0-E39B-D55978945731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08T00:30:37.632" v="529"/>
          <ac:graphicFrameMkLst>
            <pc:docMk/>
            <pc:sldMk cId="849266544" sldId="256"/>
            <ac:graphicFrameMk id="452" creationId="{7F3FF725-2A47-BE20-1B08-92318A058139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08T00:30:42.662" v="648"/>
          <ac:graphicFrameMkLst>
            <pc:docMk/>
            <pc:sldMk cId="849266544" sldId="256"/>
            <ac:graphicFrameMk id="453" creationId="{FB9BCF33-DE14-0096-FF06-5723D8B9F76B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08T00:30:44.627" v="1187"/>
          <ac:graphicFrameMkLst>
            <pc:docMk/>
            <pc:sldMk cId="849266544" sldId="256"/>
            <ac:graphicFrameMk id="455" creationId="{9C0090BD-66B9-1F53-2D37-5B70FF7AAAB9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08T05:29:39.198" v="2778"/>
          <ac:graphicFrameMkLst>
            <pc:docMk/>
            <pc:sldMk cId="849266544" sldId="256"/>
            <ac:graphicFrameMk id="462" creationId="{FE7E016F-660B-7432-CC61-F44D24B69DED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08T05:29:39.181" v="2768"/>
          <ac:graphicFrameMkLst>
            <pc:docMk/>
            <pc:sldMk cId="849266544" sldId="256"/>
            <ac:graphicFrameMk id="463" creationId="{3A984127-996E-BA42-FDDD-4539A83BB14B}"/>
          </ac:graphicFrameMkLst>
        </pc:graphicFrameChg>
        <pc:graphicFrameChg chg="add del mod ord replST delST">
          <ac:chgData name="Selvyn Yovany Martinez Barahona" userId="3ccf779dc7355a40" providerId="LiveId" clId="{176DFD19-9071-4B24-AA88-5DC23F609659}" dt="2022-11-08T00:33:47.002" v="2499" actId="1076"/>
          <ac:graphicFrameMkLst>
            <pc:docMk/>
            <pc:sldMk cId="849266544" sldId="256"/>
            <ac:graphicFrameMk id="465" creationId="{E80F7508-93FE-C19F-C6AE-87DE146340DC}"/>
          </ac:graphicFrameMkLst>
        </pc:graphicFrameChg>
        <pc:graphicFrameChg chg="add mod ord replST delST">
          <ac:chgData name="Selvyn Yovany Martinez Barahona" userId="3ccf779dc7355a40" providerId="LiveId" clId="{176DFD19-9071-4B24-AA88-5DC23F609659}" dt="2022-11-08T00:33:47" v="2490" actId="1076"/>
          <ac:graphicFrameMkLst>
            <pc:docMk/>
            <pc:sldMk cId="849266544" sldId="256"/>
            <ac:graphicFrameMk id="466" creationId="{CD531800-BBAC-7DB6-290E-263C489B6B9E}"/>
          </ac:graphicFrameMkLst>
        </pc:graphicFrameChg>
        <pc:graphicFrameChg chg="add del mod ord replST delST">
          <ac:chgData name="Selvyn Yovany Martinez Barahona" userId="3ccf779dc7355a40" providerId="LiveId" clId="{176DFD19-9071-4B24-AA88-5DC23F609659}" dt="2022-11-08T00:33:45.719" v="2469"/>
          <ac:graphicFrameMkLst>
            <pc:docMk/>
            <pc:sldMk cId="849266544" sldId="256"/>
            <ac:graphicFrameMk id="467" creationId="{3D68EE8B-D5DE-71BC-E783-FA6537FC6110}"/>
          </ac:graphicFrameMkLst>
        </pc:graphicFrameChg>
        <pc:graphicFrameChg chg="add del mod ord replST delST">
          <ac:chgData name="Selvyn Yovany Martinez Barahona" userId="3ccf779dc7355a40" providerId="LiveId" clId="{176DFD19-9071-4B24-AA88-5DC23F609659}" dt="2022-11-08T00:33:45.132" v="2447"/>
          <ac:graphicFrameMkLst>
            <pc:docMk/>
            <pc:sldMk cId="849266544" sldId="256"/>
            <ac:graphicFrameMk id="470" creationId="{A270799A-9B3A-D67B-B9FB-8F4DEBC286B9}"/>
          </ac:graphicFrameMkLst>
        </pc:graphicFrameChg>
        <pc:graphicFrameChg chg="add del mod ord replST delST">
          <ac:chgData name="Selvyn Yovany Martinez Barahona" userId="3ccf779dc7355a40" providerId="LiveId" clId="{176DFD19-9071-4B24-AA88-5DC23F609659}" dt="2022-11-08T00:33:45.132" v="2447"/>
          <ac:graphicFrameMkLst>
            <pc:docMk/>
            <pc:sldMk cId="849266544" sldId="256"/>
            <ac:graphicFrameMk id="473" creationId="{8952AE4A-8006-92D0-2502-8B04780502C1}"/>
          </ac:graphicFrameMkLst>
        </pc:graphicFrameChg>
        <pc:graphicFrameChg chg="add del mod ord replST delST">
          <ac:chgData name="Selvyn Yovany Martinez Barahona" userId="3ccf779dc7355a40" providerId="LiveId" clId="{176DFD19-9071-4B24-AA88-5DC23F609659}" dt="2022-11-08T00:33:44.234" v="2229"/>
          <ac:graphicFrameMkLst>
            <pc:docMk/>
            <pc:sldMk cId="849266544" sldId="256"/>
            <ac:graphicFrameMk id="475" creationId="{547E4975-53E5-8C12-5A08-8C747245BDC3}"/>
          </ac:graphicFrameMkLst>
        </pc:graphicFrameChg>
        <pc:graphicFrameChg chg="add mod ord replST delST">
          <ac:chgData name="Selvyn Yovany Martinez Barahona" userId="3ccf779dc7355a40" providerId="LiveId" clId="{176DFD19-9071-4B24-AA88-5DC23F609659}" dt="2022-11-08T00:33:44.234" v="2229"/>
          <ac:graphicFrameMkLst>
            <pc:docMk/>
            <pc:sldMk cId="849266544" sldId="256"/>
            <ac:graphicFrameMk id="476" creationId="{764FF080-E647-F290-5FBD-8BBC00267995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3963133640552997E-2"/>
          <c:y val="2.3963133640552997E-2"/>
          <c:w val="0.95207373271889406"/>
          <c:h val="0.95207373271889406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26CD-48A0-83D0-4F2AED66897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26CD-48A0-83D0-4F2AED668977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26CD-48A0-83D0-4F2AED668977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26CD-48A0-83D0-4F2AED668977}"/>
              </c:ext>
            </c:extLst>
          </c:dPt>
          <c:dPt>
            <c:idx val="4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26CD-48A0-83D0-4F2AED668977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26CD-48A0-83D0-4F2AED668977}"/>
              </c:ext>
            </c:extLst>
          </c:dPt>
          <c:dLbls>
            <c:dLbl>
              <c:idx val="0"/>
              <c:layout>
                <c:manualLayout>
                  <c:x val="1.6129032258064516E-2"/>
                  <c:y val="6.6820276497695855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6CD-48A0-83D0-4F2AED66897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6</c:f>
              <c:numCache>
                <c:formatCode>General</c:formatCode>
                <c:ptCount val="6"/>
                <c:pt idx="0">
                  <c:v>92.661139493323958</c:v>
                </c:pt>
                <c:pt idx="1">
                  <c:v>1.4148241599792153</c:v>
                </c:pt>
                <c:pt idx="2">
                  <c:v>1.4296714654205718</c:v>
                </c:pt>
                <c:pt idx="3">
                  <c:v>1.456222484907294</c:v>
                </c:pt>
                <c:pt idx="4">
                  <c:v>1.4940226304679034</c:v>
                </c:pt>
                <c:pt idx="5">
                  <c:v>1.54411976590106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6CD-48A0-83D0-4F2AED6689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3963133640552997E-2"/>
          <c:y val="2.3963133640552997E-2"/>
          <c:w val="0.95207373271889406"/>
          <c:h val="0.95207373271889406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717F-4ED5-8C37-B6E2B63010D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717F-4ED5-8C37-B6E2B63010D7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717F-4ED5-8C37-B6E2B63010D7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717F-4ED5-8C37-B6E2B63010D7}"/>
              </c:ext>
            </c:extLst>
          </c:dPt>
          <c:dPt>
            <c:idx val="4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717F-4ED5-8C37-B6E2B63010D7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717F-4ED5-8C37-B6E2B63010D7}"/>
              </c:ext>
            </c:extLst>
          </c:dPt>
          <c:dLbls>
            <c:dLbl>
              <c:idx val="0"/>
              <c:layout>
                <c:manualLayout>
                  <c:x val="1.7050691244239632E-2"/>
                  <c:y val="6.4976958525345616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717F-4ED5-8C37-B6E2B63010D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6</c:f>
              <c:numCache>
                <c:formatCode>General</c:formatCode>
                <c:ptCount val="6"/>
                <c:pt idx="0">
                  <c:v>91.797443848618272</c:v>
                </c:pt>
                <c:pt idx="1">
                  <c:v>1.5736092788980451</c:v>
                </c:pt>
                <c:pt idx="2">
                  <c:v>1.5766074457331802</c:v>
                </c:pt>
                <c:pt idx="3">
                  <c:v>1.605304185440902</c:v>
                </c:pt>
                <c:pt idx="4">
                  <c:v>1.6862546899895494</c:v>
                </c:pt>
                <c:pt idx="5">
                  <c:v>1.76078055132005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17F-4ED5-8C37-B6E2B63010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D4E3FC-8A7F-6BF2-78CA-C13DCF3255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E693104-09D5-E59B-34F6-85ADB42AE5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A51190-6082-D63D-843A-4ED8F0B2B2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4A95F8-A962-462E-B5CA-65B478895019}" type="datetimeFigureOut">
              <a:rPr lang="en-US" smtClean="0"/>
              <a:t>11/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025541-CA7C-0B80-0394-81DD82BEE0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A893EF-8CCF-961B-058A-47618437DF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2BF392-05A7-43CD-BD8F-52B1241B3A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25700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68E742-F967-14B9-7050-1DD1A04C85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EDBEC6E-D02A-864B-4EA3-A8ABBCD3251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46F13C1-790D-EC82-24D7-25B4EC3C43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4A95F8-A962-462E-B5CA-65B478895019}" type="datetimeFigureOut">
              <a:rPr lang="en-US" smtClean="0"/>
              <a:t>11/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FF85FC-910B-2323-5305-11CE19BE1E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9361FC-FCAA-2EF7-EABF-49A2D9DBC3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2BF392-05A7-43CD-BD8F-52B1241B3A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07570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57D2C92-0AB6-1303-C9DE-5BDD2C048E1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D371D37-8FDD-12BE-D450-44722E60970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ABAC4A-C2BE-6FBB-4FCF-67DC37E006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4A95F8-A962-462E-B5CA-65B478895019}" type="datetimeFigureOut">
              <a:rPr lang="en-US" smtClean="0"/>
              <a:t>11/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B8C5F9-8360-DE8F-3054-2B5638A04A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5617E3-600D-70FC-7F6C-86AB6D28A4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2BF392-05A7-43CD-BD8F-52B1241B3A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51490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930DC9-5502-86E5-41B8-6C2C12F8CE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2DDEEB-9872-06C9-A026-00ACE158D9A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FABF3DE-C1BA-8881-BAA2-1581D8C57F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4A95F8-A962-462E-B5CA-65B478895019}" type="datetimeFigureOut">
              <a:rPr lang="en-US" smtClean="0"/>
              <a:t>11/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755C896-00BF-9E5C-9E2E-8526135C88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BDC7B1-009E-CFF5-8DCF-9953544A4C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2BF392-05A7-43CD-BD8F-52B1241B3A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1050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365BC0-E308-E3FA-DBA1-A71AFEB886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82D6B35-54A0-BEB7-3824-13BA21F9518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37A3EF-193D-6CD4-51B1-FB9654BEAE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4A95F8-A962-462E-B5CA-65B478895019}" type="datetimeFigureOut">
              <a:rPr lang="en-US" smtClean="0"/>
              <a:t>11/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6E58E2-56CB-C81A-21C8-8F1B80C055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6748C2-E657-40B3-5159-A6F4A73C0D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2BF392-05A7-43CD-BD8F-52B1241B3A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59850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1F8F06-9A04-3BB0-522D-C2CACCB6AB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62EF2F-4302-A8C6-C218-3B625C09755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B013C58-DEA4-DE02-8C54-5E6E21F27D0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E157F4C-2E98-AB25-32E9-7C2C5CB42A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4A95F8-A962-462E-B5CA-65B478895019}" type="datetimeFigureOut">
              <a:rPr lang="en-US" smtClean="0"/>
              <a:t>11/7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82970EF-45D7-53E7-B132-CFDF1D8D01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816FA54-7458-D110-E2E0-40D2775892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2BF392-05A7-43CD-BD8F-52B1241B3A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86411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0351D5-AD9F-E34C-FD13-8267285BA3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D1CCF9C-298B-800A-5BCB-0854F8DA8A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68809A6-2482-A99C-9515-054425968B6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C8C45B3-057E-CD50-EF45-70AABB36FAB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1C00656-EFFA-EE87-95F8-7472ECF7419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1816244-1CB3-DB32-C838-11810F57AD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4A95F8-A962-462E-B5CA-65B478895019}" type="datetimeFigureOut">
              <a:rPr lang="en-US" smtClean="0"/>
              <a:t>11/7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A221637-6EDC-95F8-F3C8-CD3528A788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5A68065-9923-F5AB-98D1-D6F59F4375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2BF392-05A7-43CD-BD8F-52B1241B3A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7125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358214-4B87-B3FA-9FE4-18BB4359E4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899D291-0888-4981-5F2A-790AAFD86B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4A95F8-A962-462E-B5CA-65B478895019}" type="datetimeFigureOut">
              <a:rPr lang="en-US" smtClean="0"/>
              <a:t>11/7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9B96BB9-8CE2-C950-9B39-F19A13D9DB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1131C3-03EE-5A69-BEDF-9CF1D0FA18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2BF392-05A7-43CD-BD8F-52B1241B3A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86714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197563F-55D7-346C-DD03-FD0DB2E5DD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4A95F8-A962-462E-B5CA-65B478895019}" type="datetimeFigureOut">
              <a:rPr lang="en-US" smtClean="0"/>
              <a:t>11/7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6B6882-7BC3-0CAD-DEEE-343D789B08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CA51FF-E8D0-DDFA-5745-D6CD7D997B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2BF392-05A7-43CD-BD8F-52B1241B3A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9569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433073-CAEC-8EBA-7070-BF2C74900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2D1335-84BA-6DAA-AB9A-BD12121DEF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5A5255-0F25-B115-F5C0-48F0DDB0648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2A23A3-D6D3-2504-1550-0665F5DFED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4A95F8-A962-462E-B5CA-65B478895019}" type="datetimeFigureOut">
              <a:rPr lang="en-US" smtClean="0"/>
              <a:t>11/7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EA1AD17-0D8C-1633-C803-D2F0D3E888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B31F59-5D62-3F42-2B49-6C00602F5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2BF392-05A7-43CD-BD8F-52B1241B3A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54686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D0F7CB-C742-430A-A84B-8D71C0D07E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B126791-3C5F-5B3E-89A7-E008F0DD90A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411998E-5100-3A5D-89B2-3FFCA7E84DA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11A8776-8363-2A40-8B95-4FD1DE2B77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4A95F8-A962-462E-B5CA-65B478895019}" type="datetimeFigureOut">
              <a:rPr lang="en-US" smtClean="0"/>
              <a:t>11/7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E55AB35-BFE2-23D2-E871-4BAC3EE6F0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476C091-23F8-B22E-8C2F-7E33C588F5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2BF392-05A7-43CD-BD8F-52B1241B3A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52888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7F5CCF-542E-3C09-8B6F-F007E85721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96427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25" imgH="424" progId="TCLayout.ActiveDocument.1">
                  <p:embed/>
                </p:oleObj>
              </mc:Choice>
              <mc:Fallback>
                <p:oleObj name="think-cell Slide" r:id="rId14" imgW="425" imgH="42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7F5CCF-542E-3C09-8B6F-F007E85721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D721418-427A-CD21-6011-6E8615C146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1B8698-9294-F532-DDB4-2EE198CBAA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092DAB-98AD-CAE2-1124-4644D0F5CF8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E4A95F8-A962-462E-B5CA-65B478895019}" type="datetimeFigureOut">
              <a:rPr lang="en-US" smtClean="0"/>
              <a:t>11/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1EF73C-1DF7-1ABD-5362-AB94EFAA19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FE134D-C7E9-B0F2-2925-71E0CA0CCA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22BF392-05A7-43CD-BD8F-52B1241B3A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67210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tags" Target="../tags/tag28.xml"/><Relationship Id="rId39" Type="http://schemas.openxmlformats.org/officeDocument/2006/relationships/tags" Target="../tags/tag41.xml"/><Relationship Id="rId21" Type="http://schemas.openxmlformats.org/officeDocument/2006/relationships/tags" Target="../tags/tag23.xml"/><Relationship Id="rId34" Type="http://schemas.openxmlformats.org/officeDocument/2006/relationships/tags" Target="../tags/tag36.xml"/><Relationship Id="rId42" Type="http://schemas.openxmlformats.org/officeDocument/2006/relationships/image" Target="../media/image1.emf"/><Relationship Id="rId7" Type="http://schemas.openxmlformats.org/officeDocument/2006/relationships/tags" Target="../tags/tag9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29" Type="http://schemas.openxmlformats.org/officeDocument/2006/relationships/tags" Target="../tags/tag31.xml"/><Relationship Id="rId41" Type="http://schemas.openxmlformats.org/officeDocument/2006/relationships/oleObject" Target="../embeddings/oleObject2.bin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32" Type="http://schemas.openxmlformats.org/officeDocument/2006/relationships/tags" Target="../tags/tag34.xml"/><Relationship Id="rId37" Type="http://schemas.openxmlformats.org/officeDocument/2006/relationships/tags" Target="../tags/tag39.xml"/><Relationship Id="rId40" Type="http://schemas.openxmlformats.org/officeDocument/2006/relationships/slideLayout" Target="../slideLayouts/slideLayout1.xml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36" Type="http://schemas.openxmlformats.org/officeDocument/2006/relationships/tags" Target="../tags/tag38.xml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31" Type="http://schemas.openxmlformats.org/officeDocument/2006/relationships/tags" Target="../tags/tag33.xml"/><Relationship Id="rId44" Type="http://schemas.openxmlformats.org/officeDocument/2006/relationships/chart" Target="../charts/chart2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30" Type="http://schemas.openxmlformats.org/officeDocument/2006/relationships/tags" Target="../tags/tag32.xml"/><Relationship Id="rId35" Type="http://schemas.openxmlformats.org/officeDocument/2006/relationships/tags" Target="../tags/tag37.xml"/><Relationship Id="rId43" Type="http://schemas.openxmlformats.org/officeDocument/2006/relationships/chart" Target="../charts/chart1.xml"/><Relationship Id="rId8" Type="http://schemas.openxmlformats.org/officeDocument/2006/relationships/tags" Target="../tags/tag10.xml"/><Relationship Id="rId3" Type="http://schemas.openxmlformats.org/officeDocument/2006/relationships/tags" Target="../tags/tag5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33" Type="http://schemas.openxmlformats.org/officeDocument/2006/relationships/tags" Target="../tags/tag35.xml"/><Relationship Id="rId38" Type="http://schemas.openxmlformats.org/officeDocument/2006/relationships/tags" Target="../tags/tag4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4F6DDB2-4988-6D60-A3BC-07C92A74F1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0412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1" imgW="425" imgH="424" progId="TCLayout.ActiveDocument.1">
                  <p:embed/>
                </p:oleObj>
              </mc:Choice>
              <mc:Fallback>
                <p:oleObj name="think-cell Slide" r:id="rId41" imgW="425" imgH="42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4F6DDB2-4988-6D60-A3BC-07C92A74F1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62" name="Chart 461">
            <a:extLst>
              <a:ext uri="{FF2B5EF4-FFF2-40B4-BE49-F238E27FC236}">
                <a16:creationId xmlns:a16="http://schemas.microsoft.com/office/drawing/2014/main" id="{FE7E016F-660B-7432-CC61-F44D24B69DED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1780040"/>
              </p:ext>
            </p:extLst>
          </p:nvPr>
        </p:nvGraphicFramePr>
        <p:xfrm>
          <a:off x="101600" y="1244600"/>
          <a:ext cx="3444875" cy="3444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3"/>
          </a:graphicData>
        </a:graphic>
      </p:graphicFrame>
      <p:sp>
        <p:nvSpPr>
          <p:cNvPr id="457" name="Text Placeholder 2">
            <a:extLst>
              <a:ext uri="{FF2B5EF4-FFF2-40B4-BE49-F238E27FC236}">
                <a16:creationId xmlns:a16="http://schemas.microsoft.com/office/drawing/2014/main" id="{F01B8698-9294-F532-DDB4-2EE198CBAA21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1030288" y="1533525"/>
            <a:ext cx="403225" cy="19208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1D81FB6-E561-4B15-ABE6-EAAFB56D8169}" type="datetime'''''1''''''''''''''''''''''''.''''4''''''''%''''''''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4%</a:t>
            </a:fld>
            <a:endParaRPr lang="en-US" sz="1400" dirty="0"/>
          </a:p>
        </p:txBody>
      </p:sp>
      <p:sp>
        <p:nvSpPr>
          <p:cNvPr id="461" name="Text Placeholder 2">
            <a:extLst>
              <a:ext uri="{FF2B5EF4-FFF2-40B4-BE49-F238E27FC236}">
                <a16:creationId xmlns:a16="http://schemas.microsoft.com/office/drawing/2014/main" id="{F01B8698-9294-F532-DDB4-2EE198CBAA21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585913" y="2109788"/>
            <a:ext cx="403225" cy="192088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CE7AF03-DA7E-4BE6-81D2-EE2DA761436B}" type="datetime'''''''''''''''''1''.''''''''''''''''''''5''''''''''''''%'''''">
              <a:rPr lang="en-US" altLang="en-US" sz="14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5%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458" name="Text Placeholder 2">
            <a:extLst>
              <a:ext uri="{FF2B5EF4-FFF2-40B4-BE49-F238E27FC236}">
                <a16:creationId xmlns:a16="http://schemas.microsoft.com/office/drawing/2014/main" id="{F01B8698-9294-F532-DDB4-2EE198CBAA21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233488" y="1725613"/>
            <a:ext cx="403225" cy="19208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55240C2-7B6C-4352-AACC-973F54BDBD0C}" type="datetime'''''1''''''''''''''''''''''''''''.4%''''''''''''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4%</a:t>
            </a:fld>
            <a:endParaRPr lang="en-US" sz="1400" dirty="0"/>
          </a:p>
        </p:txBody>
      </p:sp>
      <p:sp>
        <p:nvSpPr>
          <p:cNvPr id="459" name="Text Placeholder 2">
            <a:extLst>
              <a:ext uri="{FF2B5EF4-FFF2-40B4-BE49-F238E27FC236}">
                <a16:creationId xmlns:a16="http://schemas.microsoft.com/office/drawing/2014/main" id="{F01B8698-9294-F532-DDB4-2EE198CBAA21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392238" y="1917700"/>
            <a:ext cx="403225" cy="192088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CE1CFC3-A6C8-4AF2-AC46-DE4F3E8EFDC3}" type="datetime'''''''''''''''''''''''''''''''1''''.5''''''''''%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5%</a:t>
            </a:fld>
            <a:endParaRPr lang="en-US" sz="1400" dirty="0"/>
          </a:p>
        </p:txBody>
      </p:sp>
      <p:sp>
        <p:nvSpPr>
          <p:cNvPr id="460" name="Text Placeholder 2">
            <a:extLst>
              <a:ext uri="{FF2B5EF4-FFF2-40B4-BE49-F238E27FC236}">
                <a16:creationId xmlns:a16="http://schemas.microsoft.com/office/drawing/2014/main" id="{F01B8698-9294-F532-DDB4-2EE198CBAA21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408113" y="1393825"/>
            <a:ext cx="403225" cy="192088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1B00B06-CE3E-432E-BD62-CE5A25F69D8D}" type="datetime'1''''''''''''.''''''''''''''''''''5''%'''''''''''''''''">
              <a:rPr lang="en-US" altLang="en-US" sz="14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5%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204" name="Text Placeholder 2">
            <a:extLst>
              <a:ext uri="{FF2B5EF4-FFF2-40B4-BE49-F238E27FC236}">
                <a16:creationId xmlns:a16="http://schemas.microsoft.com/office/drawing/2014/main" id="{F01B8698-9294-F532-DDB4-2EE198CBAA21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279525" y="2870200"/>
            <a:ext cx="1090613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588" rIns="0" bIns="15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2EFC032-B492-4187-9586-CB6FA4BB7B9B}" type="datetime'''$1'''',2''9''''''''''''''''''''7,8''78''''''''.6''0 '''">
              <a:rPr lang="en-US" altLang="en-US" sz="1400" smtClean="0"/>
              <a:pPr/>
              <a:t>$1,297,878.60 </a:t>
            </a:fld>
            <a:endParaRPr lang="en-US" sz="1400" dirty="0"/>
          </a:p>
        </p:txBody>
      </p:sp>
      <p:sp>
        <p:nvSpPr>
          <p:cNvPr id="211" name="Rectangle 210">
            <a:extLst>
              <a:ext uri="{FF2B5EF4-FFF2-40B4-BE49-F238E27FC236}">
                <a16:creationId xmlns:a16="http://schemas.microsoft.com/office/drawing/2014/main" id="{ACB5FA66-420A-A81B-9515-200E417A761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3721100" y="1906588"/>
            <a:ext cx="250825" cy="187325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9" name="Rectangle 208">
            <a:extLst>
              <a:ext uri="{FF2B5EF4-FFF2-40B4-BE49-F238E27FC236}">
                <a16:creationId xmlns:a16="http://schemas.microsoft.com/office/drawing/2014/main" id="{A95A17FA-3020-6F91-90B9-BE801BCA5130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3721100" y="1398588"/>
            <a:ext cx="250825" cy="187325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2" name="Rectangle 211">
            <a:extLst>
              <a:ext uri="{FF2B5EF4-FFF2-40B4-BE49-F238E27FC236}">
                <a16:creationId xmlns:a16="http://schemas.microsoft.com/office/drawing/2014/main" id="{CFE16A47-45D9-1330-227A-6FA04AF148BD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3721100" y="2160588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0" name="Rectangle 209">
            <a:extLst>
              <a:ext uri="{FF2B5EF4-FFF2-40B4-BE49-F238E27FC236}">
                <a16:creationId xmlns:a16="http://schemas.microsoft.com/office/drawing/2014/main" id="{52C7F6AE-BF4D-835B-F0D7-0E03307745E7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3721100" y="1652588"/>
            <a:ext cx="250825" cy="187325"/>
          </a:xfrm>
          <a:prstGeom prst="rect">
            <a:avLst/>
          </a:prstGeom>
          <a:solidFill>
            <a:srgbClr val="C30C3E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3" name="Rectangle 212">
            <a:extLst>
              <a:ext uri="{FF2B5EF4-FFF2-40B4-BE49-F238E27FC236}">
                <a16:creationId xmlns:a16="http://schemas.microsoft.com/office/drawing/2014/main" id="{FCAE7E1D-1499-C758-F9FE-00B9371A46F4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3721100" y="2414588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1" name="Rectangle 290">
            <a:extLst>
              <a:ext uri="{FF2B5EF4-FFF2-40B4-BE49-F238E27FC236}">
                <a16:creationId xmlns:a16="http://schemas.microsoft.com/office/drawing/2014/main" id="{42BABA56-84CC-058A-9FA9-01E2AE4F30F6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3721100" y="2668588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9" name="Text Placeholder 2">
            <a:extLst>
              <a:ext uri="{FF2B5EF4-FFF2-40B4-BE49-F238E27FC236}">
                <a16:creationId xmlns:a16="http://schemas.microsoft.com/office/drawing/2014/main" id="{F01B8698-9294-F532-DDB4-2EE198CBAA21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4022725" y="1917700"/>
            <a:ext cx="12700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9CD9367-4C90-4362-9C02-23DADA762573}" type="datetime'Fo''''l''g''e''''r''''s'''' ='' ''$1''''''''''''8'',9''00'">
              <a:rPr lang="en-US" altLang="en-US" sz="1400" smtClean="0"/>
              <a:pPr/>
              <a:t>Folgers = $18,900</a:t>
            </a:fld>
            <a:endParaRPr lang="en-US" sz="1400" dirty="0"/>
          </a:p>
        </p:txBody>
      </p:sp>
      <p:sp>
        <p:nvSpPr>
          <p:cNvPr id="186" name="Text Placeholder 2">
            <a:extLst>
              <a:ext uri="{FF2B5EF4-FFF2-40B4-BE49-F238E27FC236}">
                <a16:creationId xmlns:a16="http://schemas.microsoft.com/office/drawing/2014/main" id="{D2C85364-35B4-24C7-21A3-4F985EAEEE7E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4022725" y="1409700"/>
            <a:ext cx="20335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27E9563-F2BC-4D4F-8C4E-BDF5A3FDB97B}" type="datetime'Ben and J''''e''''''r''rys ''='''' $''2''''0,''''040.''8''0'">
              <a:rPr lang="en-US" altLang="en-US" sz="1400" smtClean="0"/>
              <a:pPr/>
              <a:t>Ben and Jerrys = $20,040.80</a:t>
            </a:fld>
            <a:endParaRPr lang="en-US" sz="1400" dirty="0"/>
          </a:p>
        </p:txBody>
      </p:sp>
      <p:sp>
        <p:nvSpPr>
          <p:cNvPr id="191" name="Text Placeholder 2">
            <a:extLst>
              <a:ext uri="{FF2B5EF4-FFF2-40B4-BE49-F238E27FC236}">
                <a16:creationId xmlns:a16="http://schemas.microsoft.com/office/drawing/2014/main" id="{35BF6085-E56A-8D0E-9B3C-4692F351187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4022725" y="2679700"/>
            <a:ext cx="23923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F842435-0263-4D0F-B81A-B2CC55BFBE9E}" type="datetime'''''All'' ''''Ot''her Brand''s = ''''$''1'',20''''2'',629.10'">
              <a:rPr lang="en-US" altLang="en-US" sz="1400" smtClean="0"/>
              <a:pPr/>
              <a:t>All Other Brands = $1,202,629.10</a:t>
            </a:fld>
            <a:endParaRPr lang="en-US" sz="1400" dirty="0"/>
          </a:p>
        </p:txBody>
      </p:sp>
      <p:sp>
        <p:nvSpPr>
          <p:cNvPr id="190" name="Text Placeholder 2">
            <a:extLst>
              <a:ext uri="{FF2B5EF4-FFF2-40B4-BE49-F238E27FC236}">
                <a16:creationId xmlns:a16="http://schemas.microsoft.com/office/drawing/2014/main" id="{27C272A0-CD42-325D-2C62-C2A645DB0C17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4022725" y="2425700"/>
            <a:ext cx="15525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35E228E-03E8-43CC-A0FC-B50AB6B3ACA0}" type="datetime'''B''ig''e''low = ''''''$''''1''''8'',''3''6''2''.''''70'''''">
              <a:rPr lang="en-US" altLang="en-US" sz="1400" smtClean="0"/>
              <a:pPr/>
              <a:t>Bigelow = $18,362.70</a:t>
            </a:fld>
            <a:endParaRPr lang="en-US" sz="1400" dirty="0"/>
          </a:p>
        </p:txBody>
      </p:sp>
      <p:sp>
        <p:nvSpPr>
          <p:cNvPr id="168" name="Text Placeholder 2">
            <a:extLst>
              <a:ext uri="{FF2B5EF4-FFF2-40B4-BE49-F238E27FC236}">
                <a16:creationId xmlns:a16="http://schemas.microsoft.com/office/drawing/2014/main" id="{F01B8698-9294-F532-DDB4-2EE198CBAA21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4022725" y="1663700"/>
            <a:ext cx="13620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28F3D5C-6800-4691-A322-E713C2DC232D}" type="datetime'Pep''''''si'' ''''''''''''''= $1''''''9'',''''3''''90''.''60'">
              <a:rPr lang="en-US" altLang="en-US" sz="1400" smtClean="0"/>
              <a:pPr/>
              <a:t>Pepsi = $19,390.60</a:t>
            </a:fld>
            <a:endParaRPr lang="en-US" sz="1400" dirty="0"/>
          </a:p>
        </p:txBody>
      </p:sp>
      <p:sp>
        <p:nvSpPr>
          <p:cNvPr id="189" name="Text Placeholder 2">
            <a:extLst>
              <a:ext uri="{FF2B5EF4-FFF2-40B4-BE49-F238E27FC236}">
                <a16:creationId xmlns:a16="http://schemas.microsoft.com/office/drawing/2014/main" id="{35BB811B-08DE-AB67-F9FD-C573E1C72AC3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4022725" y="2171700"/>
            <a:ext cx="16160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731A5A5-500D-4E77-B48A-60B1DF216EF2}" type="datetime'Ke''l''lo''''''gg''''’s'''' = ''''$18'',5''''''55''''.''40'''">
              <a:rPr lang="en-US" altLang="en-US" sz="1400" smtClean="0"/>
              <a:pPr/>
              <a:t>Kellogg’s = $18,555.40</a:t>
            </a:fld>
            <a:endParaRPr lang="en-US" sz="1400" dirty="0"/>
          </a:p>
        </p:txBody>
      </p:sp>
      <p:sp>
        <p:nvSpPr>
          <p:cNvPr id="316" name="TextBox 315">
            <a:extLst>
              <a:ext uri="{FF2B5EF4-FFF2-40B4-BE49-F238E27FC236}">
                <a16:creationId xmlns:a16="http://schemas.microsoft.com/office/drawing/2014/main" id="{7C20ADE5-2FD0-8E3B-B4A5-8D535F5437A7}"/>
              </a:ext>
            </a:extLst>
          </p:cNvPr>
          <p:cNvSpPr txBox="1"/>
          <p:nvPr/>
        </p:nvSpPr>
        <p:spPr>
          <a:xfrm>
            <a:off x="0" y="571282"/>
            <a:ext cx="48572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+mj-lt"/>
              </a:rPr>
              <a:t>Spending share of the top</a:t>
            </a:r>
            <a:r>
              <a:rPr lang="en-US" b="0" dirty="0">
                <a:effectLst/>
                <a:latin typeface="+mj-lt"/>
              </a:rPr>
              <a:t> five brands among users who were created within the past 6 months</a:t>
            </a:r>
          </a:p>
        </p:txBody>
      </p:sp>
      <p:sp>
        <p:nvSpPr>
          <p:cNvPr id="385" name="Title 25">
            <a:extLst>
              <a:ext uri="{FF2B5EF4-FFF2-40B4-BE49-F238E27FC236}">
                <a16:creationId xmlns:a16="http://schemas.microsoft.com/office/drawing/2014/main" id="{046DFD33-DE3E-0A85-004B-7F5CE8942312}"/>
              </a:ext>
            </a:extLst>
          </p:cNvPr>
          <p:cNvSpPr txBox="1">
            <a:spLocks/>
          </p:cNvSpPr>
          <p:nvPr/>
        </p:nvSpPr>
        <p:spPr>
          <a:xfrm>
            <a:off x="6588125" y="653668"/>
            <a:ext cx="5184775" cy="590931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1800" dirty="0"/>
              <a:t>Transaction share of the top five brands among users who were created within the past 6 months</a:t>
            </a: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D2E8DBCA-E70C-D175-5372-A226706F5712}"/>
              </a:ext>
            </a:extLst>
          </p:cNvPr>
          <p:cNvGraphicFramePr/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283266206"/>
              </p:ext>
            </p:extLst>
          </p:nvPr>
        </p:nvGraphicFramePr>
        <p:xfrm>
          <a:off x="6588125" y="1244600"/>
          <a:ext cx="3444875" cy="3444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4"/>
          </a:graphicData>
        </a:graphic>
      </p:graphicFrame>
      <p:sp>
        <p:nvSpPr>
          <p:cNvPr id="387" name="Text Placeholder 2">
            <a:extLst>
              <a:ext uri="{FF2B5EF4-FFF2-40B4-BE49-F238E27FC236}">
                <a16:creationId xmlns:a16="http://schemas.microsoft.com/office/drawing/2014/main" id="{F048C153-7E8A-8CE6-EB18-71AEF89CFA99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7453313" y="1568450"/>
            <a:ext cx="403225" cy="19208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AD003EE-DCF8-4E79-AABE-E0049623447B}" type="datetime'1''''''''''''.''''''''''''''6''''''''''''''''''''%'''''">
              <a:rPr lang="en-US" altLang="en-US" sz="1400" smtClean="0">
                <a:effectLst/>
              </a:rPr>
              <a:pPr/>
              <a:t>1.6%</a:t>
            </a:fld>
            <a:endParaRPr lang="en-US" sz="1400" dirty="0"/>
          </a:p>
        </p:txBody>
      </p:sp>
      <p:sp>
        <p:nvSpPr>
          <p:cNvPr id="388" name="Text Placeholder 2">
            <a:extLst>
              <a:ext uri="{FF2B5EF4-FFF2-40B4-BE49-F238E27FC236}">
                <a16:creationId xmlns:a16="http://schemas.microsoft.com/office/drawing/2014/main" id="{1668D685-E39E-CA78-E994-97AB150EA2B8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7681913" y="1760538"/>
            <a:ext cx="403225" cy="19208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2549225-C675-4F4B-BEE8-C5B7C2DEB887}" type="datetime'1''''''''''''''.''6''''''''''''''''''''''''%'''''''">
              <a:rPr lang="en-US" altLang="en-US" sz="1400" smtClean="0">
                <a:effectLst/>
              </a:rPr>
              <a:pPr/>
              <a:t>1.6%</a:t>
            </a:fld>
            <a:endParaRPr lang="en-US" sz="1400" dirty="0"/>
          </a:p>
        </p:txBody>
      </p:sp>
      <p:sp>
        <p:nvSpPr>
          <p:cNvPr id="389" name="Text Placeholder 2">
            <a:extLst>
              <a:ext uri="{FF2B5EF4-FFF2-40B4-BE49-F238E27FC236}">
                <a16:creationId xmlns:a16="http://schemas.microsoft.com/office/drawing/2014/main" id="{761668BA-4084-A0C9-1315-764B23165AFC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7858125" y="1952625"/>
            <a:ext cx="403225" cy="192088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BD2B7AC-F465-449B-B01C-C840CAD83FF4}" type="datetime'''''''''''''''1''''''''''''''.''''''''''''6''''%'''''">
              <a:rPr lang="en-US" altLang="en-US" sz="1400" smtClean="0">
                <a:effectLst/>
              </a:rPr>
              <a:pPr/>
              <a:t>1.6%</a:t>
            </a:fld>
            <a:endParaRPr lang="en-US" sz="1400" dirty="0"/>
          </a:p>
        </p:txBody>
      </p:sp>
      <p:sp>
        <p:nvSpPr>
          <p:cNvPr id="390" name="Text Placeholder 2">
            <a:extLst>
              <a:ext uri="{FF2B5EF4-FFF2-40B4-BE49-F238E27FC236}">
                <a16:creationId xmlns:a16="http://schemas.microsoft.com/office/drawing/2014/main" id="{5A361C12-95C9-5F06-4553-BA298A0D4878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7864475" y="1395413"/>
            <a:ext cx="403225" cy="192088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76F9243-2302-4A0A-BAAC-07467FE57D56}" type="datetime'1''''.7''''''''''''''''''''''''''''''''''''''''''%'''">
              <a:rPr lang="en-US" altLang="en-US" sz="1400" smtClean="0">
                <a:solidFill>
                  <a:schemeClr val="bg1"/>
                </a:solidFill>
                <a:effectLst/>
              </a:rPr>
              <a:pPr/>
              <a:t>1.7%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391" name="Text Placeholder 2">
            <a:extLst>
              <a:ext uri="{FF2B5EF4-FFF2-40B4-BE49-F238E27FC236}">
                <a16:creationId xmlns:a16="http://schemas.microsoft.com/office/drawing/2014/main" id="{9D0C0292-A91B-A51A-422D-523D00681132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8069263" y="2144713"/>
            <a:ext cx="403225" cy="192088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4105A3C-3918-4CA9-B467-72F78DA07DBB}" type="datetime'''''''''''''''''''''1''''''.''8''''%'''">
              <a:rPr lang="en-US" altLang="en-US" sz="1400" smtClean="0">
                <a:solidFill>
                  <a:schemeClr val="bg1"/>
                </a:solidFill>
                <a:effectLst/>
              </a:rPr>
              <a:pPr/>
              <a:t>1.8%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394" name="Rectangle 393">
            <a:extLst>
              <a:ext uri="{FF2B5EF4-FFF2-40B4-BE49-F238E27FC236}">
                <a16:creationId xmlns:a16="http://schemas.microsoft.com/office/drawing/2014/main" id="{6862160E-83C3-739C-81C9-3F8FCCDA48C6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10207625" y="1906588"/>
            <a:ext cx="250825" cy="187325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2" name="Rectangle 391">
            <a:extLst>
              <a:ext uri="{FF2B5EF4-FFF2-40B4-BE49-F238E27FC236}">
                <a16:creationId xmlns:a16="http://schemas.microsoft.com/office/drawing/2014/main" id="{AC2C9A98-FE6C-C979-12CC-1FDE567E04C6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10207625" y="1398588"/>
            <a:ext cx="250825" cy="187325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3" name="Rectangle 392">
            <a:extLst>
              <a:ext uri="{FF2B5EF4-FFF2-40B4-BE49-F238E27FC236}">
                <a16:creationId xmlns:a16="http://schemas.microsoft.com/office/drawing/2014/main" id="{8E7815A4-5393-807F-919E-046A6C31D741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10207625" y="1652588"/>
            <a:ext cx="250825" cy="187325"/>
          </a:xfrm>
          <a:prstGeom prst="rect">
            <a:avLst/>
          </a:prstGeom>
          <a:solidFill>
            <a:srgbClr val="C30C3E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5" name="Rectangle 394">
            <a:extLst>
              <a:ext uri="{FF2B5EF4-FFF2-40B4-BE49-F238E27FC236}">
                <a16:creationId xmlns:a16="http://schemas.microsoft.com/office/drawing/2014/main" id="{57391670-30A4-EAC2-32E2-D9315693A9AC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10207625" y="2160588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6" name="Rectangle 395">
            <a:extLst>
              <a:ext uri="{FF2B5EF4-FFF2-40B4-BE49-F238E27FC236}">
                <a16:creationId xmlns:a16="http://schemas.microsoft.com/office/drawing/2014/main" id="{7E6EDAA4-3319-9A94-5A27-347D4BF81F7F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10207625" y="2414588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7" name="Rectangle 396">
            <a:extLst>
              <a:ext uri="{FF2B5EF4-FFF2-40B4-BE49-F238E27FC236}">
                <a16:creationId xmlns:a16="http://schemas.microsoft.com/office/drawing/2014/main" id="{8F139A8E-8B69-16D8-FF4D-4485EEEA81BF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10207625" y="2668588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8" name="Text Placeholder 2">
            <a:extLst>
              <a:ext uri="{FF2B5EF4-FFF2-40B4-BE49-F238E27FC236}">
                <a16:creationId xmlns:a16="http://schemas.microsoft.com/office/drawing/2014/main" id="{E5A7DB12-3395-5216-4A11-B585E10FA73D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10509250" y="1409700"/>
            <a:ext cx="16271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D1264A1-4B90-4442-B2AA-F187F627F355}" type="datetime'''Be''n and'' ''''J''er''''''''''''rys = 4,''''111'''''">
              <a:rPr lang="en-US" altLang="en-US" sz="1400" smtClean="0"/>
              <a:pPr/>
              <a:t>Ben and Jerrys = 4,111</a:t>
            </a:fld>
            <a:endParaRPr lang="en-US" sz="1400" dirty="0"/>
          </a:p>
        </p:txBody>
      </p:sp>
      <p:sp>
        <p:nvSpPr>
          <p:cNvPr id="400" name="Text Placeholder 2">
            <a:extLst>
              <a:ext uri="{FF2B5EF4-FFF2-40B4-BE49-F238E27FC236}">
                <a16:creationId xmlns:a16="http://schemas.microsoft.com/office/drawing/2014/main" id="{AB50C9EA-4642-5032-439C-1E2473352DFB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10509250" y="1663700"/>
            <a:ext cx="955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28F2506-4869-4C2F-A4E8-7CECD87F5576}" type="datetime'Pe''ps''''i'' ''''= ''''''''3'''''''''''''''''''''',9''''37'''">
              <a:rPr lang="en-US" altLang="en-US" sz="1400" smtClean="0"/>
              <a:pPr/>
              <a:t>Pepsi = 3,937</a:t>
            </a:fld>
            <a:endParaRPr lang="en-US" sz="1400" dirty="0"/>
          </a:p>
        </p:txBody>
      </p:sp>
      <p:sp>
        <p:nvSpPr>
          <p:cNvPr id="402" name="Text Placeholder 2">
            <a:extLst>
              <a:ext uri="{FF2B5EF4-FFF2-40B4-BE49-F238E27FC236}">
                <a16:creationId xmlns:a16="http://schemas.microsoft.com/office/drawing/2014/main" id="{DB2D3D2D-474F-2B4D-7F97-9D3614C3D2DB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10509250" y="1917700"/>
            <a:ext cx="863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FE4CA86-6675-4EC1-9D47-BBEFB0070755}" type="datetime'''''''D''''o''l''e'''''''' ''''''''''''''''''''='' 3''''748'">
              <a:rPr lang="en-US" altLang="en-US" sz="1400" smtClean="0"/>
              <a:pPr/>
              <a:t>Dole = 3748</a:t>
            </a:fld>
            <a:endParaRPr lang="en-US" sz="1400" dirty="0"/>
          </a:p>
        </p:txBody>
      </p:sp>
      <p:sp>
        <p:nvSpPr>
          <p:cNvPr id="401" name="Text Placeholder 2">
            <a:extLst>
              <a:ext uri="{FF2B5EF4-FFF2-40B4-BE49-F238E27FC236}">
                <a16:creationId xmlns:a16="http://schemas.microsoft.com/office/drawing/2014/main" id="{F6D3763C-E73F-53EA-3E70-A969BECD188A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10509250" y="2171700"/>
            <a:ext cx="10890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257C297-36FD-4073-A97E-3AA7764846DC}" type="datetime'F''ol''g''e''''rs ''= ''''''3,''''''''''6''''''8''1'''''''">
              <a:rPr lang="en-US" altLang="en-US" sz="1400" smtClean="0"/>
              <a:pPr/>
              <a:t>Folgers = 3,681</a:t>
            </a:fld>
            <a:endParaRPr lang="en-US" sz="1400" dirty="0"/>
          </a:p>
        </p:txBody>
      </p:sp>
      <p:sp>
        <p:nvSpPr>
          <p:cNvPr id="399" name="Text Placeholder 2">
            <a:extLst>
              <a:ext uri="{FF2B5EF4-FFF2-40B4-BE49-F238E27FC236}">
                <a16:creationId xmlns:a16="http://schemas.microsoft.com/office/drawing/2014/main" id="{733610BC-6B23-F9CC-4330-A6823B338323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10509250" y="2425700"/>
            <a:ext cx="9747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A270955-CCC4-4691-871D-C250577D5B56}" type="datetime'''''K''n''''''o''''rr ''= ''''''''3'''''''',''6''7''''4'">
              <a:rPr lang="en-US" altLang="en-US" sz="1400" smtClean="0"/>
              <a:pPr/>
              <a:t>Knorr = 3,674</a:t>
            </a:fld>
            <a:endParaRPr lang="en-US" sz="1400" dirty="0"/>
          </a:p>
        </p:txBody>
      </p:sp>
      <p:sp>
        <p:nvSpPr>
          <p:cNvPr id="403" name="Text Placeholder 2">
            <a:extLst>
              <a:ext uri="{FF2B5EF4-FFF2-40B4-BE49-F238E27FC236}">
                <a16:creationId xmlns:a16="http://schemas.microsoft.com/office/drawing/2014/main" id="{2484883C-2B53-61DE-19E9-9F79FE260899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10509250" y="2679700"/>
            <a:ext cx="19177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37DFC31-B64B-431F-BCC1-3A00E218A990}" type="datetime'Al''''l'''' o''''ther'' B''''rands'' ''''= 214'''''',3''2''5'">
              <a:rPr lang="en-US" altLang="en-US" sz="1400" smtClean="0"/>
              <a:pPr/>
              <a:t>All other Brands = 214,325</a:t>
            </a:fld>
            <a:endParaRPr lang="en-US" sz="1400" dirty="0"/>
          </a:p>
        </p:txBody>
      </p:sp>
      <p:sp>
        <p:nvSpPr>
          <p:cNvPr id="438" name="Text Placeholder 2">
            <a:extLst>
              <a:ext uri="{FF2B5EF4-FFF2-40B4-BE49-F238E27FC236}">
                <a16:creationId xmlns:a16="http://schemas.microsoft.com/office/drawing/2014/main" id="{F01B8698-9294-F532-DDB4-2EE198CBAA21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8012113" y="2870200"/>
            <a:ext cx="600075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588" rIns="0" bIns="15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2734556-06F1-41D3-ADB8-66BB873D248F}" type="datetime'''''''''2''3''''''''''''3'',''''''''''''''4''''7''''''''6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3,476</a:t>
            </a:fld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8492665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7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3BSJ0qPfgP9ssWUlGGg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PJ2BK_KDRRTG8YJTFUt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MWXFqip47olUXXBef4p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9L9gK2CGfz0AdCUjf4mb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xyhVvpj08rEHZ6v406Q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eVToyh_ePbZi7KkG5Zv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0yUYwIhwPZ6g0leqCnY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E1tDnQd7FxTbiKg7kkZ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v0Nn1riYpa_OJ3EtKKG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5CvW_zle8fF_ZRmVF2C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NqyGvHEuy8wY.kgnWK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WMyF0DecPPTK46Oiubk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n1E3o3AIWKRuquQTi6x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zHm11SF1GSy_p9zIwQr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cb0WNgJh.Mw4Q8FVoyc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DDi9IDWQreswKEvcZYH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230LI.fgbdLzvwwPEIQ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JcEFCa6e7KuRyAfU_cA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6twseCPXrfgiJebg.3kJ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NdLW.GKmbF52DfGrZ6K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WWr8mFN1chtnoM3DEzm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nhjOCVIFBxw9bDKZpRW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MlWqP_vcr_1JxIJPsGQF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cJPBJFyGOnLM882CqlP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6NrAQs5.3SrAlaGyQ2e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2huZE1X3hTNlTquLouX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QTRZBMhBlx.YnNxVJ5m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btF2DiWlum5XAm1lrLr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FMaHwx7JgUa4ExRctXU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0Wa370kvC7mhaqHRWxS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titBtc4Mb_KOaMXFH5o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EN0B4nhTwuG_g76ucfy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pbIxDvGOiqAf9e9RQKn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o6Lm6qFyriJXzewWg3nR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M1bSm56yWwcBVqMHEtD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dp4kr9uW4qgtud3QnUC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ZQMxaGn4vAn9QzbiuTX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GUlLZiStFrEkbqz0bGG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15</TotalTime>
  <Words>60</Words>
  <Application>Microsoft Office PowerPoint</Application>
  <PresentationFormat>Widescreen</PresentationFormat>
  <Paragraphs>2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elvyn Yovany Martinez Barahona</dc:creator>
  <cp:lastModifiedBy>Selvyn Yovany Martinez Barahona</cp:lastModifiedBy>
  <cp:revision>1</cp:revision>
  <dcterms:created xsi:type="dcterms:W3CDTF">2022-11-07T06:15:48Z</dcterms:created>
  <dcterms:modified xsi:type="dcterms:W3CDTF">2022-11-08T05:29:48Z</dcterms:modified>
</cp:coreProperties>
</file>